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658" r:id="rId5"/>
    <p:sldMasterId id="2147483677" r:id="rId6"/>
  </p:sldMasterIdLst>
  <p:notesMasterIdLst>
    <p:notesMasterId r:id="rId14"/>
  </p:notesMasterIdLst>
  <p:sldIdLst>
    <p:sldId id="396" r:id="rId7"/>
    <p:sldId id="2147474729" r:id="rId8"/>
    <p:sldId id="1058" r:id="rId9"/>
    <p:sldId id="2147474829" r:id="rId10"/>
    <p:sldId id="2147474823" r:id="rId11"/>
    <p:sldId id="2147474826" r:id="rId12"/>
    <p:sldId id="2147474830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1E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1BBD72-245B-4B3A-A09A-B2CDE828B755}" v="4" dt="2023-11-13T21:36:19.897"/>
    <p1510:client id="{EFA45569-145E-419F-91D4-011AD2E1F394}" v="11" dt="2023-11-13T17:49:51.5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57" autoAdjust="0"/>
    <p:restoredTop sz="76742" autoAdjust="0"/>
  </p:normalViewPr>
  <p:slideViewPr>
    <p:cSldViewPr snapToGrid="0">
      <p:cViewPr varScale="1">
        <p:scale>
          <a:sx n="81" d="100"/>
          <a:sy n="81" d="100"/>
        </p:scale>
        <p:origin x="360" y="96"/>
      </p:cViewPr>
      <p:guideLst/>
    </p:cSldViewPr>
  </p:slideViewPr>
  <p:outlineViewPr>
    <p:cViewPr>
      <p:scale>
        <a:sx n="25" d="100"/>
        <a:sy n="25" d="100"/>
      </p:scale>
      <p:origin x="0" y="-23956"/>
    </p:cViewPr>
    <p:sldLst>
      <p:sld r:id="rId1" collapse="1"/>
      <p:sld r:id="rId2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7.xml"/><Relationship Id="rId1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058F94-A628-44CE-92D8-A558887F0B52}" type="datetimeFigureOut">
              <a:rPr lang="en-US" smtClean="0"/>
              <a:t>11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FB264D-91E7-4969-B7C0-CFB46E03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0286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2C83B-37C7-4AE9-B6F6-208D22A7969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3674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FB264D-91E7-4969-B7C0-CFB46E0382B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215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FB264D-91E7-4969-B7C0-CFB46E0382B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38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FB264D-91E7-4969-B7C0-CFB46E0382B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9881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2C83B-37C7-4AE9-B6F6-208D22A7969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2789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2C83B-37C7-4AE9-B6F6-208D22A7969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278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.xml"/><Relationship Id="rId7" Type="http://schemas.openxmlformats.org/officeDocument/2006/relationships/oleObject" Target="../embeddings/oleObject3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4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4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4.emf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5.xml"/><Relationship Id="rId7" Type="http://schemas.openxmlformats.org/officeDocument/2006/relationships/oleObject" Target="../embeddings/oleObject7.bin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image" Target="../media/image3.png"/><Relationship Id="rId5" Type="http://schemas.openxmlformats.org/officeDocument/2006/relationships/tags" Target="../tags/tag52.xml"/><Relationship Id="rId10" Type="http://schemas.openxmlformats.org/officeDocument/2006/relationships/image" Target="../media/image2.emf"/><Relationship Id="rId4" Type="http://schemas.openxmlformats.org/officeDocument/2006/relationships/tags" Target="../tags/tag51.xml"/><Relationship Id="rId9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10" Type="http://schemas.openxmlformats.org/officeDocument/2006/relationships/image" Target="../media/image3.png"/><Relationship Id="rId4" Type="http://schemas.openxmlformats.org/officeDocument/2006/relationships/tags" Target="../tags/tag58.xml"/><Relationship Id="rId9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6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3.png"/><Relationship Id="rId4" Type="http://schemas.openxmlformats.org/officeDocument/2006/relationships/tags" Target="../tags/tag64.xml"/><Relationship Id="rId9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image" Target="../media/image3.png"/><Relationship Id="rId4" Type="http://schemas.openxmlformats.org/officeDocument/2006/relationships/tags" Target="../tags/tag70.xml"/><Relationship Id="rId9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3.png"/><Relationship Id="rId5" Type="http://schemas.openxmlformats.org/officeDocument/2006/relationships/tags" Target="../tags/tag77.xml"/><Relationship Id="rId10" Type="http://schemas.openxmlformats.org/officeDocument/2006/relationships/image" Target="../media/image2.emf"/><Relationship Id="rId4" Type="http://schemas.openxmlformats.org/officeDocument/2006/relationships/tags" Target="../tags/tag76.xml"/><Relationship Id="rId9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image" Target="../media/image9.svg"/><Relationship Id="rId3" Type="http://schemas.openxmlformats.org/officeDocument/2006/relationships/tags" Target="../tags/tag82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8.png"/><Relationship Id="rId2" Type="http://schemas.openxmlformats.org/officeDocument/2006/relationships/tags" Target="../tags/tag81.xml"/><Relationship Id="rId16" Type="http://schemas.openxmlformats.org/officeDocument/2006/relationships/image" Target="../media/image12.png"/><Relationship Id="rId1" Type="http://schemas.openxmlformats.org/officeDocument/2006/relationships/tags" Target="../tags/tag80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7.svg"/><Relationship Id="rId5" Type="http://schemas.openxmlformats.org/officeDocument/2006/relationships/tags" Target="../tags/tag84.xml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4" Type="http://schemas.openxmlformats.org/officeDocument/2006/relationships/tags" Target="../tags/tag83.xml"/><Relationship Id="rId9" Type="http://schemas.openxmlformats.org/officeDocument/2006/relationships/image" Target="../media/image3.png"/><Relationship Id="rId1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tags" Target="../tags/tag87.xml"/><Relationship Id="rId7" Type="http://schemas.openxmlformats.org/officeDocument/2006/relationships/image" Target="../media/image3.png"/><Relationship Id="rId12" Type="http://schemas.openxmlformats.org/officeDocument/2006/relationships/image" Target="../media/image10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4.emf"/><Relationship Id="rId11" Type="http://schemas.openxmlformats.org/officeDocument/2006/relationships/image" Target="../media/image9.sv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svg"/><Relationship Id="rId1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Relationship Id="rId6" Type="http://schemas.openxmlformats.org/officeDocument/2006/relationships/image" Target="../media/image3.png"/><Relationship Id="rId11" Type="http://schemas.openxmlformats.org/officeDocument/2006/relationships/image" Target="../media/image10.png"/><Relationship Id="rId5" Type="http://schemas.openxmlformats.org/officeDocument/2006/relationships/image" Target="../media/image12.png"/><Relationship Id="rId10" Type="http://schemas.openxmlformats.org/officeDocument/2006/relationships/image" Target="../media/image9.svg"/><Relationship Id="rId4" Type="http://schemas.openxmlformats.org/officeDocument/2006/relationships/image" Target="../media/image4.emf"/><Relationship Id="rId9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1.xml"/><Relationship Id="rId7" Type="http://schemas.openxmlformats.org/officeDocument/2006/relationships/oleObject" Target="../embeddings/oleObject16.bin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3.xml"/><Relationship Id="rId4" Type="http://schemas.openxmlformats.org/officeDocument/2006/relationships/tags" Target="../tags/tag9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6.xml"/><Relationship Id="rId7" Type="http://schemas.openxmlformats.org/officeDocument/2006/relationships/oleObject" Target="../embeddings/oleObject17.bin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8.png"/><Relationship Id="rId18" Type="http://schemas.openxmlformats.org/officeDocument/2006/relationships/image" Target="../media/image3.png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image" Target="../media/image7.svg"/><Relationship Id="rId17" Type="http://schemas.openxmlformats.org/officeDocument/2006/relationships/image" Target="../media/image13.png"/><Relationship Id="rId2" Type="http://schemas.openxmlformats.org/officeDocument/2006/relationships/tags" Target="../tags/tag100.xml"/><Relationship Id="rId16" Type="http://schemas.openxmlformats.org/officeDocument/2006/relationships/image" Target="../media/image11.png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image" Target="../media/image6.png"/><Relationship Id="rId5" Type="http://schemas.openxmlformats.org/officeDocument/2006/relationships/tags" Target="../tags/tag103.xml"/><Relationship Id="rId15" Type="http://schemas.openxmlformats.org/officeDocument/2006/relationships/image" Target="../media/image10.png"/><Relationship Id="rId10" Type="http://schemas.openxmlformats.org/officeDocument/2006/relationships/image" Target="../media/image4.emf"/><Relationship Id="rId4" Type="http://schemas.openxmlformats.org/officeDocument/2006/relationships/tags" Target="../tags/tag102.xml"/><Relationship Id="rId9" Type="http://schemas.openxmlformats.org/officeDocument/2006/relationships/oleObject" Target="../embeddings/oleObject18.bin"/><Relationship Id="rId14" Type="http://schemas.openxmlformats.org/officeDocument/2006/relationships/image" Target="../media/image9.sv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Relationship Id="rId9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28BF9B-AE1D-426B-BDDD-917B596658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4CBA94-8EF5-4C4B-A7EC-BDCC286ECD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8B43D6-B3E6-46F6-9596-F59758C98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212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8550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609600" y="70654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09600" y="277816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7883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8867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DA998E-1131-4413-B39E-6E7B24536A3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228539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8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2089C4C-4537-46F2-AE32-C064314EDA0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02333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2417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4580468"/>
            <a:ext cx="11027664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213DCFC-558D-464D-AB54-762065C4185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40933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02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808AAB-2C59-48F9-B55A-36074D8C9558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833614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0942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DE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609600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9600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2D386983-1D4C-4E2E-B071-0872CED009D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D94539C8-8348-4AB6-B0E9-BCF7BC005E2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7106206" y="29487"/>
            <a:ext cx="43745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en-US" sz="1000" i="1" dirty="0">
                <a:solidFill>
                  <a:schemeClr val="tx1"/>
                </a:solidFill>
                <a:latin typeface="+mn-lt"/>
              </a:rPr>
              <a:t>Information contained in this file is confidential, preliminary and pre-decisio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ED5F6CA-B13E-433F-B251-F26EBE0EAED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256899" y="643743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213CDF4-F556-4E22-A6F4-B038DC04EDB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5312" y="6268539"/>
            <a:ext cx="991338" cy="51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0004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399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DE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609600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9600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DDA89A31-56CB-4FBE-91C6-64DD01991E6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16313A7-5209-4601-8A64-C764C59C081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5312" y="6268539"/>
            <a:ext cx="991338" cy="51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4126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39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DE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609600" y="277816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9600" y="70654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D3AA54DB-CB9F-4EEC-BEE4-04E440C26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F4C5ECF-706C-4060-A217-38173982111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5312" y="6268539"/>
            <a:ext cx="991338" cy="51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2435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76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72" imgH="588" progId="TCLayout.ActiveDocument.1">
                  <p:embed/>
                </p:oleObj>
              </mc:Choice>
              <mc:Fallback>
                <p:oleObj name="think-cell Slide" r:id="rId8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277816"/>
            <a:ext cx="6967728" cy="384721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DE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9600" y="70654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AA81BFF-6989-408A-A89C-31BEB645992C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9600" y="599039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E28990-9265-482D-BFD9-D135B740F01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5312" y="6268539"/>
            <a:ext cx="991338" cy="51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7223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271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DE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609600" y="277816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9600" y="70654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A70138D-03E1-406F-AC25-69709E2D160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1544BB1F-8CED-475B-A642-A838FE232F3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256899" y="643743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76A6166-9045-4419-8E91-5453D824607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5312" y="6268539"/>
            <a:ext cx="991338" cy="51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281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7328BD-E5C1-4769-A9E0-D02E1E067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21E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A9274B-0CED-413A-A03C-A4FC1C07BC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73E1DD-8737-448D-9B34-82B586400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9527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672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277816"/>
            <a:ext cx="11082528" cy="1154162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9" name="Sticker" hidden="1">
            <a:extLst>
              <a:ext uri="{FF2B5EF4-FFF2-40B4-BE49-F238E27FC236}">
                <a16:creationId xmlns:a16="http://schemas.microsoft.com/office/drawing/2014/main" id="{2B5F1846-DB86-4338-8AFA-F2C1B534B900}"/>
              </a:ext>
            </a:extLst>
          </p:cNvPr>
          <p:cNvSpPr txBox="1"/>
          <p:nvPr userDrawn="1"/>
        </p:nvSpPr>
        <p:spPr>
          <a:xfrm>
            <a:off x="558489" y="140180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/>
              <a:t>STICKER</a:t>
            </a:r>
          </a:p>
        </p:txBody>
      </p:sp>
      <p:sp>
        <p:nvSpPr>
          <p:cNvPr id="98" name="5. Source" hidden="1">
            <a:extLst>
              <a:ext uri="{FF2B5EF4-FFF2-40B4-BE49-F238E27FC236}">
                <a16:creationId xmlns:a16="http://schemas.microsoft.com/office/drawing/2014/main" id="{C95BDF8D-871A-473C-800E-E88046B3D32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0" name="Freeform 7">
            <a:extLst>
              <a:ext uri="{FF2B5EF4-FFF2-40B4-BE49-F238E27FC236}">
                <a16:creationId xmlns:a16="http://schemas.microsoft.com/office/drawing/2014/main" id="{32655C58-5265-4F36-ABE9-0609106DB74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08000" y="228600"/>
            <a:ext cx="109728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rgbClr val="2977C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 dirty="0"/>
          </a:p>
        </p:txBody>
      </p:sp>
      <p:sp>
        <p:nvSpPr>
          <p:cNvPr id="101" name="Line 8">
            <a:extLst>
              <a:ext uri="{FF2B5EF4-FFF2-40B4-BE49-F238E27FC236}">
                <a16:creationId xmlns:a16="http://schemas.microsoft.com/office/drawing/2014/main" id="{F2E3EC80-3A16-441C-8F70-692BA7B6725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0" y="6172200"/>
            <a:ext cx="10972800" cy="0"/>
          </a:xfrm>
          <a:prstGeom prst="line">
            <a:avLst/>
          </a:prstGeom>
          <a:noFill/>
          <a:ln w="19050">
            <a:solidFill>
              <a:srgbClr val="2977C1"/>
            </a:solidFill>
            <a:round/>
            <a:headEnd/>
            <a:tailEnd/>
          </a:ln>
          <a:effectLst/>
        </p:spPr>
        <p:txBody>
          <a:bodyPr>
            <a:noAutofit/>
          </a:bodyPr>
          <a:lstStyle/>
          <a:p>
            <a:endParaRPr lang="en-US" sz="1800" dirty="0"/>
          </a:p>
        </p:txBody>
      </p:sp>
      <p:sp>
        <p:nvSpPr>
          <p:cNvPr id="109" name="Slide Number">
            <a:extLst>
              <a:ext uri="{FF2B5EF4-FFF2-40B4-BE49-F238E27FC236}">
                <a16:creationId xmlns:a16="http://schemas.microsoft.com/office/drawing/2014/main" id="{0ED36215-1586-4EBA-97F4-FE22BCE350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256899" y="643743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9160B55-5B40-4045-8698-CC602D6F5E0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62" y="6253670"/>
            <a:ext cx="991338" cy="518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D77068F5-26A1-47DE-B4DD-7AE4D5140F9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60960" y="6410987"/>
            <a:ext cx="985973" cy="206737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E479A368-8BEE-46C0-857B-DC3F6E74BC8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06093" y="6353972"/>
            <a:ext cx="591910" cy="254700"/>
          </a:xfrm>
          <a:prstGeom prst="rect">
            <a:avLst/>
          </a:prstGeom>
        </p:spPr>
      </p:pic>
      <p:pic>
        <p:nvPicPr>
          <p:cNvPr id="21" name="Picture 769" descr="Department of Managed Health Care - Departments - California Health and  Human Services Open Data Portal">
            <a:extLst>
              <a:ext uri="{FF2B5EF4-FFF2-40B4-BE49-F238E27FC236}">
                <a16:creationId xmlns:a16="http://schemas.microsoft.com/office/drawing/2014/main" id="{D824922D-0272-40B1-A800-92FD967629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163" y="6302367"/>
            <a:ext cx="1059514" cy="408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71">
            <a:extLst>
              <a:ext uri="{FF2B5EF4-FFF2-40B4-BE49-F238E27FC236}">
                <a16:creationId xmlns:a16="http://schemas.microsoft.com/office/drawing/2014/main" id="{4163951B-54FC-45B0-9FD5-611BFB40FB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37" y="6273968"/>
            <a:ext cx="953071" cy="367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927" descr="OSG Logo">
            <a:extLst>
              <a:ext uri="{FF2B5EF4-FFF2-40B4-BE49-F238E27FC236}">
                <a16:creationId xmlns:a16="http://schemas.microsoft.com/office/drawing/2014/main" id="{307CA516-8F71-4F66-8EDF-04CCB1E1E3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8420" y="6273968"/>
            <a:ext cx="1598314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51225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039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9E18A66-311D-4669-96F7-852C6F53824A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2C99A7-3ACE-4707-A418-5A40AD2CE62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256899" y="643743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B94A69D-9B87-4C54-91B0-0554F236FE0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62" y="6253670"/>
            <a:ext cx="991338" cy="518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A2E5D255-14DF-4753-B7D3-5F72BC66AEA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60960" y="6410987"/>
            <a:ext cx="985973" cy="206737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B54ABAD4-F370-43D3-96A1-C1D23419861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06093" y="6353972"/>
            <a:ext cx="591910" cy="254700"/>
          </a:xfrm>
          <a:prstGeom prst="rect">
            <a:avLst/>
          </a:prstGeom>
        </p:spPr>
      </p:pic>
      <p:pic>
        <p:nvPicPr>
          <p:cNvPr id="21" name="Picture 769" descr="Department of Managed Health Care - Departments - California Health and  Human Services Open Data Portal">
            <a:extLst>
              <a:ext uri="{FF2B5EF4-FFF2-40B4-BE49-F238E27FC236}">
                <a16:creationId xmlns:a16="http://schemas.microsoft.com/office/drawing/2014/main" id="{D2C11E48-B4C5-4DF7-95AE-EA6AF01A00E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163" y="6302367"/>
            <a:ext cx="1059514" cy="408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71">
            <a:extLst>
              <a:ext uri="{FF2B5EF4-FFF2-40B4-BE49-F238E27FC236}">
                <a16:creationId xmlns:a16="http://schemas.microsoft.com/office/drawing/2014/main" id="{6E1DC856-CD04-4023-A7C1-04AE7ABAC0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37" y="6273968"/>
            <a:ext cx="953071" cy="367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27" descr="OSG Logo">
            <a:extLst>
              <a:ext uri="{FF2B5EF4-FFF2-40B4-BE49-F238E27FC236}">
                <a16:creationId xmlns:a16="http://schemas.microsoft.com/office/drawing/2014/main" id="{F3BFCAA7-9BC0-47C6-BA60-6F65E41E8E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8420" y="6273968"/>
            <a:ext cx="1598314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67911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9740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27" descr="OSG Logo">
            <a:extLst>
              <a:ext uri="{FF2B5EF4-FFF2-40B4-BE49-F238E27FC236}">
                <a16:creationId xmlns:a16="http://schemas.microsoft.com/office/drawing/2014/main" id="{80C58F81-223C-4FE0-9FB3-9A51629A33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909" y="3190198"/>
            <a:ext cx="1598314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CE17A1D-EEA9-41DB-9A09-EEF09CF137A4}"/>
              </a:ext>
            </a:extLst>
          </p:cNvPr>
          <p:cNvGrpSpPr/>
          <p:nvPr userDrawn="1"/>
        </p:nvGrpSpPr>
        <p:grpSpPr>
          <a:xfrm>
            <a:off x="2163303" y="3169900"/>
            <a:ext cx="6018446" cy="518200"/>
            <a:chOff x="3210462" y="6253670"/>
            <a:chExt cx="6018446" cy="5182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E031E67-C7BE-4143-B173-868923FAB9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10462" y="6253670"/>
              <a:ext cx="991338" cy="5182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A92F4B8E-400B-4A5E-A52F-2EA7F1BAA0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60960" y="6410987"/>
              <a:ext cx="985973" cy="206737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2240EAA-908C-46A0-B9E5-7F39B68496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906093" y="6353972"/>
              <a:ext cx="591910" cy="254700"/>
            </a:xfrm>
            <a:prstGeom prst="rect">
              <a:avLst/>
            </a:prstGeom>
          </p:spPr>
        </p:pic>
        <p:pic>
          <p:nvPicPr>
            <p:cNvPr id="16" name="Picture 769" descr="Department of Managed Health Care - Departments - California Health and  Human Services Open Data Portal">
              <a:extLst>
                <a:ext uri="{FF2B5EF4-FFF2-40B4-BE49-F238E27FC236}">
                  <a16:creationId xmlns:a16="http://schemas.microsoft.com/office/drawing/2014/main" id="{CE9685BE-C924-4511-8AFE-978250D75D8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7163" y="6302367"/>
              <a:ext cx="1059514" cy="4086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771">
              <a:extLst>
                <a:ext uri="{FF2B5EF4-FFF2-40B4-BE49-F238E27FC236}">
                  <a16:creationId xmlns:a16="http://schemas.microsoft.com/office/drawing/2014/main" id="{EB3D21EF-0461-4DF9-BF36-08DD1712D3F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5837" y="6273968"/>
              <a:ext cx="953071" cy="3671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758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729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586B67EF-9ECC-4AFB-B943-F2DF5A5E034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36C34EE-523A-4774-AB70-F69839A6FBB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256899" y="643743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68212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29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6D74D2-0803-47A9-9B09-FE934623015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D387A1D-B3DB-4FC3-B202-EAA342D761E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256899" y="643743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6790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5118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609600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9600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87AE78E-9088-49E5-89C9-1EE2C962302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: …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F5113C97-3267-4434-AC2E-012AF7011BF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18958" y="6410987"/>
            <a:ext cx="985973" cy="206737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3919EA23-9D7D-485B-B5E6-313D86941F6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249591" y="6353972"/>
            <a:ext cx="591910" cy="254700"/>
          </a:xfrm>
          <a:prstGeom prst="rect">
            <a:avLst/>
          </a:prstGeom>
        </p:spPr>
      </p:pic>
      <p:pic>
        <p:nvPicPr>
          <p:cNvPr id="23" name="Picture 769" descr="Department of Managed Health Care - Departments - California Health and  Human Services Open Data Portal">
            <a:extLst>
              <a:ext uri="{FF2B5EF4-FFF2-40B4-BE49-F238E27FC236}">
                <a16:creationId xmlns:a16="http://schemas.microsoft.com/office/drawing/2014/main" id="{7A155BF1-1BA0-4F98-B5B0-D0BFC165E83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161" y="6302367"/>
            <a:ext cx="1059514" cy="408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771">
            <a:extLst>
              <a:ext uri="{FF2B5EF4-FFF2-40B4-BE49-F238E27FC236}">
                <a16:creationId xmlns:a16="http://schemas.microsoft.com/office/drawing/2014/main" id="{A8A9ADFB-E3D0-40AF-8D8C-961F5B9D61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0335" y="6273968"/>
            <a:ext cx="953071" cy="367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73">
            <a:extLst>
              <a:ext uri="{FF2B5EF4-FFF2-40B4-BE49-F238E27FC236}">
                <a16:creationId xmlns:a16="http://schemas.microsoft.com/office/drawing/2014/main" id="{628FA0CA-4D74-45B4-8413-A1205999BE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8068" y="6288628"/>
            <a:ext cx="1487789" cy="43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Slide Number">
            <a:extLst>
              <a:ext uri="{FF2B5EF4-FFF2-40B4-BE49-F238E27FC236}">
                <a16:creationId xmlns:a16="http://schemas.microsoft.com/office/drawing/2014/main" id="{21D6C888-0BF3-40B3-997C-8AF48E83B70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256899" y="643743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6A93123-0B6E-414C-8B2B-7FDCA0D3CBF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960" y="6253670"/>
            <a:ext cx="991338" cy="51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7148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3579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609600" y="70654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09600" y="599039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09600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9600" y="277816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3625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84384-63A1-44AB-B8E1-44AA130D3078}" type="datetime1">
              <a:rPr lang="en-US" smtClean="0"/>
              <a:t>11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9512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F5461-6A85-4846-951F-DA749BE94BBF}" type="datetime1">
              <a:rPr lang="en-US" smtClean="0"/>
              <a:t>11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9683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05D91-2312-4B8D-8102-29348BAE1431}" type="datetime1">
              <a:rPr lang="en-US" smtClean="0"/>
              <a:t>11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8736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7EF57-C466-40E3-AD69-0C6C016F9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56BDD8-FE46-4B74-B3FF-4C67269F10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513A54-D81D-4709-B37E-569289FB6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9428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FE738-B447-411D-A0E9-C81FF7F76537}" type="datetime1">
              <a:rPr lang="en-US" smtClean="0"/>
              <a:t>11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4580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4A49D-1545-449B-ADE0-0B25825E606A}" type="datetime1">
              <a:rPr lang="en-US" smtClean="0"/>
              <a:t>11/2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873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177F2D-52C3-4B50-B81A-01B36CAD9CD6}" type="datetime1">
              <a:rPr lang="en-US" smtClean="0"/>
              <a:t>11/2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1634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5BEEF7-7CA2-42FF-8891-7EFA4A2FE698}" type="datetime1">
              <a:rPr lang="en-US" smtClean="0"/>
              <a:t>11/2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2059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1986D-FC06-4D9A-BA60-70CB92B62D37}" type="datetime1">
              <a:rPr lang="en-US" smtClean="0"/>
              <a:t>11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9243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3DBCC-8D88-48AA-9B6C-142C11344E96}" type="datetime1">
              <a:rPr lang="en-US" smtClean="0"/>
              <a:t>11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6449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E332F-5D26-4906-8DCE-AF119B9C3513}" type="datetime1">
              <a:rPr lang="en-US" smtClean="0"/>
              <a:t>11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3211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ED6E98-D848-461E-A1C0-030C93703708}" type="datetime1">
              <a:rPr lang="en-US" smtClean="0"/>
              <a:t>11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California Health and Human Services Agency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" y="5832758"/>
            <a:ext cx="1828800" cy="95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451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22DBB6A-C6FD-421D-8F50-47EDCCABC6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6B6531-FE6B-485E-9E71-FD9A7CBD6D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5428B8F-4C9F-4C1B-9180-7FD55306D1ED}" type="datetimeFigureOut">
              <a:rPr lang="en-US" smtClean="0"/>
              <a:t>11/2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CBDA61-B4A3-49FB-80C7-490FBCCAFA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9CE50C-8C69-4AAF-BB74-BD46BF964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218D9DC-B3CD-4357-80E1-B2EDAFCEEC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305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88AD1EA-73F5-7FBD-55A3-8C30E2B683E0}"/>
              </a:ext>
            </a:extLst>
          </p:cNvPr>
          <p:cNvSpPr/>
          <p:nvPr userDrawn="1"/>
        </p:nvSpPr>
        <p:spPr>
          <a:xfrm>
            <a:off x="0" y="1476462"/>
            <a:ext cx="7206143" cy="4144162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F7EF57-C466-40E3-AD69-0C6C016F9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5954844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56BDD8-FE46-4B74-B3FF-4C67269F10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5954844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513A54-D81D-4709-B37E-569289FB6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0135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0F199-2665-4B94-A8A6-407490537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5718B5-E04A-48A2-8ECB-D265B89C24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D97173-BDE7-48A0-BB8E-3F0AC27DEB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B57E06-939F-4BFB-8132-9A964B357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6525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D2ECC-A547-4E61-9994-A1048218F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46A5D1-50D6-43E8-BA43-0F3EF72396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6ADA40-0EFF-43A2-A05B-2F485DC0E6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B03E57-6ACB-4E3E-86AC-B72E4A9E88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BC15E6-1140-409D-8564-FBB0B75A4E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8552C2-729C-4C95-ABAE-50BCA0F8E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7769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634DFE-E95E-4419-84FF-9C9E31C4C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79D718-D576-43B5-8AEB-99FFDCAD1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2142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3B334-3BCE-4293-97F6-2F8B10D9B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345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9682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641602" y="4725612"/>
            <a:ext cx="86825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41602" y="4027906"/>
            <a:ext cx="8682567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1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016001" y="1411224"/>
            <a:ext cx="103632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50056FC0-F9A2-45F6-9FD6-237BB0A0C5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2800" y="1219200"/>
            <a:ext cx="105664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rgbClr val="2977C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 dirty="0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69D19F1D-ECEC-45C0-9238-C24A7A6A6A71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41602" y="3962400"/>
            <a:ext cx="8682567" cy="0"/>
          </a:xfrm>
          <a:prstGeom prst="line">
            <a:avLst/>
          </a:prstGeom>
          <a:noFill/>
          <a:ln w="19050">
            <a:solidFill>
              <a:srgbClr val="2977C1"/>
            </a:solidFill>
            <a:round/>
            <a:headEnd/>
            <a:tailEnd/>
          </a:ln>
          <a:effectLst/>
        </p:spPr>
        <p:txBody>
          <a:bodyPr>
            <a:noAutofit/>
          </a:bodyPr>
          <a:lstStyle/>
          <a:p>
            <a:endParaRPr lang="en-US" sz="1800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6F312DEA-5926-4A29-99AE-42DA3C9640F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908703" y="6556628"/>
            <a:ext cx="43745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en-US" sz="1000" i="1" dirty="0">
                <a:solidFill>
                  <a:schemeClr val="tx1"/>
                </a:solidFill>
                <a:latin typeface="+mn-lt"/>
              </a:rPr>
              <a:t>Information contained in this file is confidential, preliminary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086627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tags" Target="../tags/tag7.xml"/><Relationship Id="rId39" Type="http://schemas.openxmlformats.org/officeDocument/2006/relationships/tags" Target="../tags/tag20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tags" Target="../tags/tag1.xml"/><Relationship Id="rId29" Type="http://schemas.openxmlformats.org/officeDocument/2006/relationships/tags" Target="../tags/tag1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8.xml"/><Relationship Id="rId19" Type="http://schemas.openxmlformats.org/officeDocument/2006/relationships/theme" Target="../theme/theme2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DF68C7-D572-41B7-8C82-E054ACAC4E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4AC7F0-E345-4750-80DD-820DB8695F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F097-CE3D-48A8-AA24-21E4A612AD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66DAD7-5542-41F0-84C3-9E05F8D8176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A774F34A-BFEB-45B4-94E8-958E1596D31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3" y="5922488"/>
            <a:ext cx="1651167" cy="86772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7CAD86A-6AF3-4187-8E8F-96DFD5C40544}"/>
              </a:ext>
            </a:extLst>
          </p:cNvPr>
          <p:cNvCxnSpPr>
            <a:cxnSpLocks/>
          </p:cNvCxnSpPr>
          <p:nvPr userDrawn="1"/>
        </p:nvCxnSpPr>
        <p:spPr>
          <a:xfrm>
            <a:off x="4702629" y="225631"/>
            <a:ext cx="7489371" cy="0"/>
          </a:xfrm>
          <a:prstGeom prst="line">
            <a:avLst/>
          </a:prstGeom>
          <a:ln w="47625">
            <a:solidFill>
              <a:srgbClr val="021E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667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6" r:id="rId4"/>
    <p:sldLayoutId id="2147483652" r:id="rId5"/>
    <p:sldLayoutId id="2147483653" r:id="rId6"/>
    <p:sldLayoutId id="2147483654" r:id="rId7"/>
    <p:sldLayoutId id="214748365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21E7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163438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 userDrawn="1"/>
        </p:nvGrpSpPr>
        <p:grpSpPr>
          <a:xfrm>
            <a:off x="50800" y="0"/>
            <a:ext cx="12100560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405610"/>
              <a:ext cx="11082528" cy="4346261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140855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609600" y="5835733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609600" y="277816"/>
            <a:ext cx="10972800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76733"/>
            <a:ext cx="1099262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5" name="Sticker" hidden="1">
            <a:extLst>
              <a:ext uri="{FF2B5EF4-FFF2-40B4-BE49-F238E27FC236}">
                <a16:creationId xmlns:a16="http://schemas.microsoft.com/office/drawing/2014/main" id="{97ED2832-F2D3-4BBC-B741-D13502E9DAA9}"/>
              </a:ext>
            </a:extLst>
          </p:cNvPr>
          <p:cNvSpPr txBox="1"/>
          <p:nvPr userDrawn="1"/>
        </p:nvSpPr>
        <p:spPr>
          <a:xfrm>
            <a:off x="609600" y="964729"/>
            <a:ext cx="32044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grpSp>
        <p:nvGrpSpPr>
          <p:cNvPr id="135" name="LegendLines" hidden="1">
            <a:extLst>
              <a:ext uri="{FF2B5EF4-FFF2-40B4-BE49-F238E27FC236}">
                <a16:creationId xmlns:a16="http://schemas.microsoft.com/office/drawing/2014/main" id="{55CE3C90-AD2F-4FB9-9F7E-CE13D12146FE}"/>
              </a:ext>
            </a:extLst>
          </p:cNvPr>
          <p:cNvGrpSpPr/>
          <p:nvPr userDrawn="1"/>
        </p:nvGrpSpPr>
        <p:grpSpPr>
          <a:xfrm>
            <a:off x="10317304" y="3355023"/>
            <a:ext cx="1319960" cy="958286"/>
            <a:chOff x="10162879" y="3243772"/>
            <a:chExt cx="1319960" cy="958286"/>
          </a:xfrm>
        </p:grpSpPr>
        <p:sp>
          <p:nvSpPr>
            <p:cNvPr id="136" name="Legend1" hidden="1">
              <a:extLst>
                <a:ext uri="{FF2B5EF4-FFF2-40B4-BE49-F238E27FC236}">
                  <a16:creationId xmlns:a16="http://schemas.microsoft.com/office/drawing/2014/main" id="{454663E0-82B5-4507-862E-0A50C8FE1331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37" name="Legend2" hidden="1">
              <a:extLst>
                <a:ext uri="{FF2B5EF4-FFF2-40B4-BE49-F238E27FC236}">
                  <a16:creationId xmlns:a16="http://schemas.microsoft.com/office/drawing/2014/main" id="{8FF1CEF5-92AB-458F-8C50-99DA712FA3CE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38" name="Legend3" hidden="1">
              <a:extLst>
                <a:ext uri="{FF2B5EF4-FFF2-40B4-BE49-F238E27FC236}">
                  <a16:creationId xmlns:a16="http://schemas.microsoft.com/office/drawing/2014/main" id="{FD10A5E6-E8AE-4AFD-AE48-FA204B4B3D01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39" name="LineLegend3" hidden="1">
              <a:extLst>
                <a:ext uri="{FF2B5EF4-FFF2-40B4-BE49-F238E27FC236}">
                  <a16:creationId xmlns:a16="http://schemas.microsoft.com/office/drawing/2014/main" id="{643B41FB-9892-4D66-94E3-2B6CF375052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40" name="LineLegend2" hidden="1">
              <a:extLst>
                <a:ext uri="{FF2B5EF4-FFF2-40B4-BE49-F238E27FC236}">
                  <a16:creationId xmlns:a16="http://schemas.microsoft.com/office/drawing/2014/main" id="{95311738-0817-495F-92FF-97AB0DC940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41" name="LineLegend1" hidden="1">
              <a:extLst>
                <a:ext uri="{FF2B5EF4-FFF2-40B4-BE49-F238E27FC236}">
                  <a16:creationId xmlns:a16="http://schemas.microsoft.com/office/drawing/2014/main" id="{46D4E143-7160-4A42-92A3-70C1CFB282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42" name="LegendMoons" hidden="1">
            <a:extLst>
              <a:ext uri="{FF2B5EF4-FFF2-40B4-BE49-F238E27FC236}">
                <a16:creationId xmlns:a16="http://schemas.microsoft.com/office/drawing/2014/main" id="{AA82C9EC-26D3-4FCC-AA7A-7A8F7BD0D742}"/>
              </a:ext>
            </a:extLst>
          </p:cNvPr>
          <p:cNvGrpSpPr/>
          <p:nvPr userDrawn="1"/>
        </p:nvGrpSpPr>
        <p:grpSpPr>
          <a:xfrm>
            <a:off x="10688315" y="1415983"/>
            <a:ext cx="948949" cy="1731859"/>
            <a:chOff x="7723680" y="1702457"/>
            <a:chExt cx="948949" cy="1731859"/>
          </a:xfrm>
        </p:grpSpPr>
        <p:sp>
          <p:nvSpPr>
            <p:cNvPr id="143" name="Legend1" hidden="1">
              <a:extLst>
                <a:ext uri="{FF2B5EF4-FFF2-40B4-BE49-F238E27FC236}">
                  <a16:creationId xmlns:a16="http://schemas.microsoft.com/office/drawing/2014/main" id="{863ABAE7-0F69-4931-9221-0F8DBE586C8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4" name="Legend2" hidden="1">
              <a:extLst>
                <a:ext uri="{FF2B5EF4-FFF2-40B4-BE49-F238E27FC236}">
                  <a16:creationId xmlns:a16="http://schemas.microsoft.com/office/drawing/2014/main" id="{3DDCB43C-BC2A-4B21-9989-9BCB15DCFC8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5" name="Legend3" hidden="1">
              <a:extLst>
                <a:ext uri="{FF2B5EF4-FFF2-40B4-BE49-F238E27FC236}">
                  <a16:creationId xmlns:a16="http://schemas.microsoft.com/office/drawing/2014/main" id="{7C3A1CE0-B179-45BF-AF64-7221DD3A084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6" name="Legend4" hidden="1">
              <a:extLst>
                <a:ext uri="{FF2B5EF4-FFF2-40B4-BE49-F238E27FC236}">
                  <a16:creationId xmlns:a16="http://schemas.microsoft.com/office/drawing/2014/main" id="{8DAAE54B-8D79-4F66-8878-9C9F337CDD02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7" name="Legend5" hidden="1">
              <a:extLst>
                <a:ext uri="{FF2B5EF4-FFF2-40B4-BE49-F238E27FC236}">
                  <a16:creationId xmlns:a16="http://schemas.microsoft.com/office/drawing/2014/main" id="{9FD43EB8-E6A4-4832-869D-984E812F8281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74" name="MoonLegend1" hidden="1">
              <a:extLst>
                <a:ext uri="{FF2B5EF4-FFF2-40B4-BE49-F238E27FC236}">
                  <a16:creationId xmlns:a16="http://schemas.microsoft.com/office/drawing/2014/main" id="{73B1B001-F875-46D6-B9BB-B190ED5611D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88" name="Oval 287" hidden="1">
                <a:extLst>
                  <a:ext uri="{FF2B5EF4-FFF2-40B4-BE49-F238E27FC236}">
                    <a16:creationId xmlns:a16="http://schemas.microsoft.com/office/drawing/2014/main" id="{F54368D5-1A48-499A-97E0-93226784E17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9" name="Arc 288" hidden="1">
                <a:extLst>
                  <a:ext uri="{FF2B5EF4-FFF2-40B4-BE49-F238E27FC236}">
                    <a16:creationId xmlns:a16="http://schemas.microsoft.com/office/drawing/2014/main" id="{7883B2CB-BB4D-4E1F-A62F-C552172337C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76" name="MoonLegend2" hidden="1">
              <a:extLst>
                <a:ext uri="{FF2B5EF4-FFF2-40B4-BE49-F238E27FC236}">
                  <a16:creationId xmlns:a16="http://schemas.microsoft.com/office/drawing/2014/main" id="{DFDFF6C1-B8C4-4C43-BBE3-9ED24D9DFE45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86" name="Oval 285" hidden="1">
                <a:extLst>
                  <a:ext uri="{FF2B5EF4-FFF2-40B4-BE49-F238E27FC236}">
                    <a16:creationId xmlns:a16="http://schemas.microsoft.com/office/drawing/2014/main" id="{8457F93D-9493-4F24-B143-E34EBB8B020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7" name="Arc 286" hidden="1">
                <a:extLst>
                  <a:ext uri="{FF2B5EF4-FFF2-40B4-BE49-F238E27FC236}">
                    <a16:creationId xmlns:a16="http://schemas.microsoft.com/office/drawing/2014/main" id="{70D7ED47-3170-41C1-80A8-B06E52A351C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77" name="MoonLegend3" hidden="1">
              <a:extLst>
                <a:ext uri="{FF2B5EF4-FFF2-40B4-BE49-F238E27FC236}">
                  <a16:creationId xmlns:a16="http://schemas.microsoft.com/office/drawing/2014/main" id="{D5535807-A1B4-4985-88ED-FABAFA079E4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84" name="Oval 283" hidden="1">
                <a:extLst>
                  <a:ext uri="{FF2B5EF4-FFF2-40B4-BE49-F238E27FC236}">
                    <a16:creationId xmlns:a16="http://schemas.microsoft.com/office/drawing/2014/main" id="{29F64EC5-DEDF-4EBB-84C5-6A84D3ED3E0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5" name="Arc 284" hidden="1">
                <a:extLst>
                  <a:ext uri="{FF2B5EF4-FFF2-40B4-BE49-F238E27FC236}">
                    <a16:creationId xmlns:a16="http://schemas.microsoft.com/office/drawing/2014/main" id="{8FBD7FFC-ACD5-43B4-8646-AB43FA4B1C4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78" name="MoonLegend4" hidden="1">
              <a:extLst>
                <a:ext uri="{FF2B5EF4-FFF2-40B4-BE49-F238E27FC236}">
                  <a16:creationId xmlns:a16="http://schemas.microsoft.com/office/drawing/2014/main" id="{1B745B6A-2E06-42EA-B45F-E92BCF69617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2" name="Oval 281" hidden="1">
                <a:extLst>
                  <a:ext uri="{FF2B5EF4-FFF2-40B4-BE49-F238E27FC236}">
                    <a16:creationId xmlns:a16="http://schemas.microsoft.com/office/drawing/2014/main" id="{82B657B8-23D9-4A70-BE96-56AEA2C4F1F3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3" name="Arc 282" hidden="1">
                <a:extLst>
                  <a:ext uri="{FF2B5EF4-FFF2-40B4-BE49-F238E27FC236}">
                    <a16:creationId xmlns:a16="http://schemas.microsoft.com/office/drawing/2014/main" id="{12026F0E-44B9-41C9-8FE7-5F8DB422F9F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79" name="MoonLegend5" hidden="1">
              <a:extLst>
                <a:ext uri="{FF2B5EF4-FFF2-40B4-BE49-F238E27FC236}">
                  <a16:creationId xmlns:a16="http://schemas.microsoft.com/office/drawing/2014/main" id="{2237B440-DF7E-4A8A-9190-974691E0752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80" name="Oval 279" hidden="1">
                <a:extLst>
                  <a:ext uri="{FF2B5EF4-FFF2-40B4-BE49-F238E27FC236}">
                    <a16:creationId xmlns:a16="http://schemas.microsoft.com/office/drawing/2014/main" id="{12AA3E32-E3D4-4900-AA0E-4B5DAC8AAF2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1" name="Arc 280" hidden="1">
                <a:extLst>
                  <a:ext uri="{FF2B5EF4-FFF2-40B4-BE49-F238E27FC236}">
                    <a16:creationId xmlns:a16="http://schemas.microsoft.com/office/drawing/2014/main" id="{38CDECE9-E5F7-46DB-9C31-68818C2F2E5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90" name="LegendBoxes" hidden="1">
            <a:extLst>
              <a:ext uri="{FF2B5EF4-FFF2-40B4-BE49-F238E27FC236}">
                <a16:creationId xmlns:a16="http://schemas.microsoft.com/office/drawing/2014/main" id="{21CCBDCB-1EC8-473D-BE41-BBEFFC170378}"/>
              </a:ext>
            </a:extLst>
          </p:cNvPr>
          <p:cNvGrpSpPr/>
          <p:nvPr userDrawn="1"/>
        </p:nvGrpSpPr>
        <p:grpSpPr>
          <a:xfrm>
            <a:off x="10714801" y="4520490"/>
            <a:ext cx="922463" cy="1717282"/>
            <a:chOff x="10652400" y="4322824"/>
            <a:chExt cx="922463" cy="1717282"/>
          </a:xfrm>
        </p:grpSpPr>
        <p:sp>
          <p:nvSpPr>
            <p:cNvPr id="291" name="RectangleLegend1" hidden="1">
              <a:extLst>
                <a:ext uri="{FF2B5EF4-FFF2-40B4-BE49-F238E27FC236}">
                  <a16:creationId xmlns:a16="http://schemas.microsoft.com/office/drawing/2014/main" id="{FCF9EA8A-3F07-419A-ABA7-E87E8D3BFB50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92" name="RectangleLegend2" hidden="1">
              <a:extLst>
                <a:ext uri="{FF2B5EF4-FFF2-40B4-BE49-F238E27FC236}">
                  <a16:creationId xmlns:a16="http://schemas.microsoft.com/office/drawing/2014/main" id="{D2A08F1C-4635-4CB4-B742-6A79F44F65E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93" name="RectangleLegend3" hidden="1">
              <a:extLst>
                <a:ext uri="{FF2B5EF4-FFF2-40B4-BE49-F238E27FC236}">
                  <a16:creationId xmlns:a16="http://schemas.microsoft.com/office/drawing/2014/main" id="{91E092A1-B14B-40A4-82F1-7B1BD26FB80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94" name="RectangleLegend4" hidden="1">
              <a:extLst>
                <a:ext uri="{FF2B5EF4-FFF2-40B4-BE49-F238E27FC236}">
                  <a16:creationId xmlns:a16="http://schemas.microsoft.com/office/drawing/2014/main" id="{277EADEB-1158-4812-9103-7FD63A4F0F7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95" name="RectangleLegend5" hidden="1">
              <a:extLst>
                <a:ext uri="{FF2B5EF4-FFF2-40B4-BE49-F238E27FC236}">
                  <a16:creationId xmlns:a16="http://schemas.microsoft.com/office/drawing/2014/main" id="{5294F1C8-2478-43F5-85F1-026AAA8E6DE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96" name="Legend1" hidden="1">
              <a:extLst>
                <a:ext uri="{FF2B5EF4-FFF2-40B4-BE49-F238E27FC236}">
                  <a16:creationId xmlns:a16="http://schemas.microsoft.com/office/drawing/2014/main" id="{DD57D89E-ECFA-4632-9EAA-B95BCBB1FF58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97" name="Legend2" hidden="1">
              <a:extLst>
                <a:ext uri="{FF2B5EF4-FFF2-40B4-BE49-F238E27FC236}">
                  <a16:creationId xmlns:a16="http://schemas.microsoft.com/office/drawing/2014/main" id="{0A429885-FE0D-44A1-B230-946FF88B0F5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98" name="Legend3" hidden="1">
              <a:extLst>
                <a:ext uri="{FF2B5EF4-FFF2-40B4-BE49-F238E27FC236}">
                  <a16:creationId xmlns:a16="http://schemas.microsoft.com/office/drawing/2014/main" id="{A5B898E1-6A9C-4D44-9954-6F1555C5BAD8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99" name="Legend4" hidden="1">
              <a:extLst>
                <a:ext uri="{FF2B5EF4-FFF2-40B4-BE49-F238E27FC236}">
                  <a16:creationId xmlns:a16="http://schemas.microsoft.com/office/drawing/2014/main" id="{B031B099-888F-4CD8-A85C-58788878FA91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300" name="Legend5" hidden="1">
              <a:extLst>
                <a:ext uri="{FF2B5EF4-FFF2-40B4-BE49-F238E27FC236}">
                  <a16:creationId xmlns:a16="http://schemas.microsoft.com/office/drawing/2014/main" id="{E4A7602E-F270-4B9B-9E58-485FEB9E6FC2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sp>
        <p:nvSpPr>
          <p:cNvPr id="134" name="Freeform 7">
            <a:extLst>
              <a:ext uri="{FF2B5EF4-FFF2-40B4-BE49-F238E27FC236}">
                <a16:creationId xmlns:a16="http://schemas.microsoft.com/office/drawing/2014/main" id="{ECC7BD2D-9894-4F70-B9A3-8378A10F0C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08000" y="228600"/>
            <a:ext cx="109728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rgbClr val="2977C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 dirty="0"/>
          </a:p>
        </p:txBody>
      </p:sp>
      <p:sp>
        <p:nvSpPr>
          <p:cNvPr id="154" name="Line 8">
            <a:extLst>
              <a:ext uri="{FF2B5EF4-FFF2-40B4-BE49-F238E27FC236}">
                <a16:creationId xmlns:a16="http://schemas.microsoft.com/office/drawing/2014/main" id="{A531B9A3-D082-4168-86D0-869403F0490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0" y="6172200"/>
            <a:ext cx="10972800" cy="0"/>
          </a:xfrm>
          <a:prstGeom prst="line">
            <a:avLst/>
          </a:prstGeom>
          <a:noFill/>
          <a:ln w="19050">
            <a:solidFill>
              <a:srgbClr val="2977C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 dirty="0"/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1C66C587-66AB-4F13-908E-BD519DF4E6AC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4887" y="6319266"/>
            <a:ext cx="991338" cy="51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303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9200" indent="-208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04800" indent="-154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600" indent="-147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8">
          <p15:clr>
            <a:srgbClr val="5ACBF0"/>
          </p15:clr>
        </p15:guide>
        <p15:guide id="3" orient="horz" pos="3622">
          <p15:clr>
            <a:srgbClr val="5ACBF0"/>
          </p15:clr>
        </p15:guide>
        <p15:guide id="4" orient="horz" pos="890">
          <p15:clr>
            <a:srgbClr val="F26B43"/>
          </p15:clr>
        </p15:guide>
        <p15:guide id="5" pos="7302">
          <p15:clr>
            <a:srgbClr val="F26B43"/>
          </p15:clr>
        </p15:guide>
        <p15:guide id="6" pos="378">
          <p15:clr>
            <a:srgbClr val="F26B43"/>
          </p15:clr>
        </p15:guide>
        <p15:guide id="8" orient="horz" pos="388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01DAA-CCD2-4AB5-8048-95A77EC45D17}" type="datetime1">
              <a:rPr lang="en-US" smtClean="0"/>
              <a:t>11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BDF916-188B-46C8-9EC1-EFEF5A65B6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668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care-act.org/resource/overview-of-care-process-for-supporters/" TargetMode="External"/><Relationship Id="rId13" Type="http://schemas.openxmlformats.org/officeDocument/2006/relationships/hyperlink" Target="https://www.chhs.ca.gov/care-act-quarterly-update-september-2023_spanish_ada/" TargetMode="External"/><Relationship Id="rId3" Type="http://schemas.openxmlformats.org/officeDocument/2006/relationships/hyperlink" Target="CARE-Act.org" TargetMode="External"/><Relationship Id="rId7" Type="http://schemas.openxmlformats.org/officeDocument/2006/relationships/hyperlink" Target="https://care-act.org/resource/supporter-role-in-the-care-act/" TargetMode="External"/><Relationship Id="rId12" Type="http://schemas.openxmlformats.org/officeDocument/2006/relationships/hyperlink" Target="https://www.chhs.ca.gov/care-act-quarterly-update-september-2023/" TargetMode="External"/><Relationship Id="rId2" Type="http://schemas.openxmlformats.org/officeDocument/2006/relationships/notesSlide" Target="../notesSlides/notesSlide3.xml"/><Relationship Id="rId16" Type="http://schemas.openxmlformats.org/officeDocument/2006/relationships/hyperlink" Target="https://www.courts.ca.gov/48654.htm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care-act.org/resource/legal-roles-in-the-care-act/" TargetMode="External"/><Relationship Id="rId11" Type="http://schemas.openxmlformats.org/officeDocument/2006/relationships/hyperlink" Target="https://www.chhs.ca.gov/care-act/" TargetMode="External"/><Relationship Id="rId5" Type="http://schemas.openxmlformats.org/officeDocument/2006/relationships/hyperlink" Target="https://care-act.org/resource/the-care-act-at-a-glance/" TargetMode="External"/><Relationship Id="rId15" Type="http://schemas.openxmlformats.org/officeDocument/2006/relationships/hyperlink" Target="https://www.dhcs.ca.gov/Pages/CARE-ACT.aspx" TargetMode="External"/><Relationship Id="rId10" Type="http://schemas.openxmlformats.org/officeDocument/2006/relationships/hyperlink" Target="https://care-act.org/library/volunteer-supporters/" TargetMode="External"/><Relationship Id="rId4" Type="http://schemas.openxmlformats.org/officeDocument/2006/relationships/hyperlink" Target="https://care-act.org/resource/care-agreement-care-plan-worksheet-for-behavioral-health/" TargetMode="External"/><Relationship Id="rId9" Type="http://schemas.openxmlformats.org/officeDocument/2006/relationships/hyperlink" Target="https://care-act.org/resource/care-act-eligibility-criteria-fact-sheet/" TargetMode="External"/><Relationship Id="rId14" Type="http://schemas.openxmlformats.org/officeDocument/2006/relationships/hyperlink" Target="https://care-act.org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CAREAct@chhs.ca.gov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info@CARE-Act.org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hhs.ca.gov/" TargetMode="External"/><Relationship Id="rId7" Type="http://schemas.openxmlformats.org/officeDocument/2006/relationships/hyperlink" Target="https://care-act.org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chhs.ca.gov/home/committees/care-act-working-group/" TargetMode="External"/><Relationship Id="rId5" Type="http://schemas.openxmlformats.org/officeDocument/2006/relationships/hyperlink" Target="https://www.chhs.ca.gov/care-act-petitioners/" TargetMode="External"/><Relationship Id="rId4" Type="http://schemas.openxmlformats.org/officeDocument/2006/relationships/hyperlink" Target="https://care-act.org/library/county-website-directory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16DA59-DFFE-49E3-AA1F-8A57959DE3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4" descr="Hexagons with images showing people working together. People reaching out to each other, many hands joining together to form the center of a wheel, hands passing a bowl of food, health care provider wearing stethoscope meeting with patient.">
            <a:extLst>
              <a:ext uri="{FF2B5EF4-FFF2-40B4-BE49-F238E27FC236}">
                <a16:creationId xmlns:a16="http://schemas.microsoft.com/office/drawing/2014/main" id="{F911B0FA-F8D0-4D7B-B6D7-70EA0B1100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222"/>
            <a:ext cx="12192000" cy="685777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39CA706-87A4-4289-9579-7718ABDE03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F3AE570-1204-4581-ABF7-FD3D7022359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395021" y="2217643"/>
            <a:ext cx="4503043" cy="31146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Poppins Bold" panose="00000800000000000000" pitchFamily="2" charset="0"/>
              </a:rPr>
              <a:t>CARE 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Poppins Bold" panose="00000800000000000000" pitchFamily="2" charset="0"/>
              </a:rPr>
              <a:t>(Community Assistance, Recovery and Empowerment)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Poppins Bold" panose="00000800000000000000" pitchFamily="2" charset="0"/>
              </a:rPr>
              <a:t>Act</a:t>
            </a:r>
          </a:p>
        </p:txBody>
      </p:sp>
      <p:pic>
        <p:nvPicPr>
          <p:cNvPr id="12" name="Graphic 11" descr="CalHHS typed over map of California">
            <a:extLst>
              <a:ext uri="{FF2B5EF4-FFF2-40B4-BE49-F238E27FC236}">
                <a16:creationId xmlns:a16="http://schemas.microsoft.com/office/drawing/2014/main" id="{7E2E9235-B736-45D8-A880-8665BBA33C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76783" y="717138"/>
            <a:ext cx="900490" cy="988148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6854529-1A32-4F27-966C-A3ED52DDEA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17174" y="462360"/>
            <a:ext cx="3762969" cy="9771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5CC6D1-49E4-1652-9A2C-ED94ECAF55B4}"/>
              </a:ext>
            </a:extLst>
          </p:cNvPr>
          <p:cNvSpPr txBox="1"/>
          <p:nvPr/>
        </p:nvSpPr>
        <p:spPr>
          <a:xfrm>
            <a:off x="4836859" y="5950592"/>
            <a:ext cx="7061205" cy="7078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California Health &amp; Human Services Agenc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Person Centered. Equity Focused. Data Driven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22484344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EE093-6DEA-6415-C900-772C3FB02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orts to date by Key State Agencies involved in C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4D9BC5-39C1-9A0F-5D22-11C083493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6666" y="1674567"/>
            <a:ext cx="3825843" cy="45213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tx2"/>
                </a:solidFill>
              </a:rPr>
              <a:t>CalHHS</a:t>
            </a:r>
          </a:p>
          <a:p>
            <a:r>
              <a:rPr lang="en-US" sz="1800" dirty="0"/>
              <a:t>Lead coordination efforts including CARE Act Working Group to support early implementation efforts </a:t>
            </a:r>
          </a:p>
          <a:p>
            <a:r>
              <a:rPr lang="en-US" sz="1800" dirty="0"/>
              <a:t>Engage with cross sector partners including the facilitation of the Cohort 1 learning community  </a:t>
            </a:r>
          </a:p>
          <a:p>
            <a:r>
              <a:rPr lang="en-US" sz="1800" dirty="0"/>
              <a:t>Support training, technical assistance and evaluation efforts</a:t>
            </a:r>
          </a:p>
          <a:p>
            <a:r>
              <a:rPr lang="en-US" sz="1800" dirty="0"/>
              <a:t>Support statewide communications to increase understanding of the CARE Ac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2EB1ED-B77F-696D-07EA-808528BF5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2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83DB3DE-E0BB-F6C6-0E83-16E7CFD20A2E}"/>
              </a:ext>
            </a:extLst>
          </p:cNvPr>
          <p:cNvSpPr txBox="1">
            <a:spLocks/>
          </p:cNvSpPr>
          <p:nvPr/>
        </p:nvSpPr>
        <p:spPr>
          <a:xfrm>
            <a:off x="4192509" y="1646285"/>
            <a:ext cx="32004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accent2"/>
                </a:solidFill>
              </a:rPr>
              <a:t>DHCS</a:t>
            </a:r>
          </a:p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Develop training &amp; technical assistance for counties, counsel and volunteer supporters</a:t>
            </a:r>
          </a:p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Responsible for data collection, reporting, and independent evaluation </a:t>
            </a:r>
          </a:p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dminister implementation and start up funding</a:t>
            </a:r>
          </a:p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dminister of Behavioral Health Bridge Housing program</a:t>
            </a:r>
          </a:p>
          <a:p>
            <a:endParaRPr lang="en-US" sz="18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A6820F5-7E94-9040-0ECA-AA1C3E4F7DB8}"/>
              </a:ext>
            </a:extLst>
          </p:cNvPr>
          <p:cNvSpPr txBox="1">
            <a:spLocks/>
          </p:cNvSpPr>
          <p:nvPr/>
        </p:nvSpPr>
        <p:spPr>
          <a:xfrm>
            <a:off x="7392909" y="1635268"/>
            <a:ext cx="4432425" cy="4521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accent6"/>
                </a:solidFill>
              </a:rPr>
              <a:t>Judicial Council</a:t>
            </a:r>
          </a:p>
          <a:p>
            <a:pPr>
              <a:lnSpc>
                <a:spcPct val="70000"/>
              </a:lnSpc>
            </a:pPr>
            <a:r>
              <a:rPr lang="en-US" sz="1800" dirty="0">
                <a:latin typeface="+mn-lt"/>
              </a:rPr>
              <a:t>Initial CARE Act Procedural Memo distributed to all courts</a:t>
            </a:r>
          </a:p>
          <a:p>
            <a:pPr>
              <a:lnSpc>
                <a:spcPct val="70000"/>
              </a:lnSpc>
            </a:pPr>
            <a:r>
              <a:rPr lang="en-US" sz="1800" dirty="0">
                <a:latin typeface="+mn-lt"/>
              </a:rPr>
              <a:t>Court Communication Hub: information sharing within and across courts; collaboration platform </a:t>
            </a:r>
          </a:p>
          <a:p>
            <a:pPr>
              <a:lnSpc>
                <a:spcPct val="70000"/>
              </a:lnSpc>
            </a:pPr>
            <a:r>
              <a:rPr lang="en-US" sz="1800" dirty="0">
                <a:latin typeface="+mn-lt"/>
              </a:rPr>
              <a:t>Meetings with court teams</a:t>
            </a:r>
          </a:p>
          <a:p>
            <a:pPr>
              <a:lnSpc>
                <a:spcPct val="70000"/>
              </a:lnSpc>
            </a:pPr>
            <a:r>
              <a:rPr lang="en-US" sz="1800" dirty="0">
                <a:latin typeface="+mn-lt"/>
              </a:rPr>
              <a:t>Statewide Court rules &amp; forms (Probate and Mental Health Advisory Committee)</a:t>
            </a:r>
          </a:p>
          <a:p>
            <a:pPr>
              <a:lnSpc>
                <a:spcPct val="70000"/>
              </a:lnSpc>
            </a:pPr>
            <a:r>
              <a:rPr lang="en-US" sz="1800" dirty="0">
                <a:latin typeface="+mn-lt"/>
              </a:rPr>
              <a:t>Court data collection procedural plan </a:t>
            </a:r>
          </a:p>
          <a:p>
            <a:pPr>
              <a:lnSpc>
                <a:spcPct val="70000"/>
              </a:lnSpc>
            </a:pPr>
            <a:r>
              <a:rPr lang="en-US" sz="1800" dirty="0">
                <a:latin typeface="+mn-lt"/>
              </a:rPr>
              <a:t>Legal representation</a:t>
            </a:r>
          </a:p>
          <a:p>
            <a:pPr>
              <a:lnSpc>
                <a:spcPct val="70000"/>
              </a:lnSpc>
            </a:pPr>
            <a:r>
              <a:rPr lang="en-US" sz="1800" dirty="0">
                <a:latin typeface="+mn-lt"/>
              </a:rPr>
              <a:t>Budget administration</a:t>
            </a:r>
          </a:p>
          <a:p>
            <a:pPr>
              <a:lnSpc>
                <a:spcPct val="70000"/>
              </a:lnSpc>
            </a:pPr>
            <a:r>
              <a:rPr lang="en-US" sz="1800" dirty="0">
                <a:latin typeface="+mn-lt"/>
              </a:rPr>
              <a:t>Targeted court training and technical assistance needs; webinars </a:t>
            </a:r>
          </a:p>
          <a:p>
            <a:pPr>
              <a:lnSpc>
                <a:spcPct val="70000"/>
              </a:lnSpc>
            </a:pPr>
            <a:r>
              <a:rPr lang="en-US" sz="1800" dirty="0">
                <a:latin typeface="+mn-lt"/>
              </a:rPr>
              <a:t>Self-Help legal information, assistance, and tools for parties</a:t>
            </a:r>
          </a:p>
        </p:txBody>
      </p:sp>
    </p:spTree>
    <p:extLst>
      <p:ext uri="{BB962C8B-B14F-4D97-AF65-F5344CB8AC3E}">
        <p14:creationId xmlns:p14="http://schemas.microsoft.com/office/powerpoint/2010/main" val="25995525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9A2F34E-137F-2C3A-FF59-9DB452A375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390" y="424512"/>
            <a:ext cx="10819410" cy="1325563"/>
          </a:xfrm>
        </p:spPr>
        <p:txBody>
          <a:bodyPr>
            <a:normAutofit/>
          </a:bodyPr>
          <a:lstStyle/>
          <a:p>
            <a:r>
              <a:rPr lang="en-US" sz="3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 Act Working group (established by SB 1338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35FE96E-C841-48B8-53AC-E781ECEEF3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31 members </a:t>
            </a:r>
            <a:r>
              <a:rPr lang="en-US" dirty="0"/>
              <a:t>include representation from counties, providers, peers, families, Legal Aid, Disability Rights, Homelessness, hospitals, and other stakeholder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urpose: provide coordination, on-going engagement, and collaboration among stakeholders </a:t>
            </a:r>
            <a:r>
              <a:rPr lang="en-US" b="1" dirty="0"/>
              <a:t>to support the successful implementation of the CARE Ac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Meets quarterly (February, May, August, and November -- Next Meeting February 14, 2024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hree ad hoc Sub-Groups: Services and Supports; Training, Technical Assistance, and Communication; and Data Collection, Reporting, and Evaluation</a:t>
            </a:r>
          </a:p>
          <a:p>
            <a:pPr lvl="1"/>
            <a:r>
              <a:rPr lang="en-US" dirty="0"/>
              <a:t>Cross cutting perspectives from Peers, Families, Lived Experience; Racial Equity and Social Justice; and Providers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FF3E6C-853B-FF14-DEDF-5CF792773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78AF96-4600-45B0-A8D0-625966D5AB1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437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3FC09-798B-F2BC-71AC-EFDC977F7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505" y="320676"/>
            <a:ext cx="11792989" cy="793230"/>
          </a:xfrm>
        </p:spPr>
        <p:txBody>
          <a:bodyPr>
            <a:normAutofit/>
          </a:bodyPr>
          <a:lstStyle/>
          <a:p>
            <a:r>
              <a:rPr lang="en-US" sz="3400" dirty="0"/>
              <a:t>Technical Assistance and Cohort 1 Learning Commun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0C7AF1-1D22-611F-2733-71EAA8ED3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262" y="1246909"/>
            <a:ext cx="5587538" cy="4930054"/>
          </a:xfrm>
        </p:spPr>
        <p:txBody>
          <a:bodyPr>
            <a:normAutofit fontScale="40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4000" b="1" dirty="0">
                <a:latin typeface="+mn-lt"/>
              </a:rPr>
              <a:t>Implementation Trainings and Resources</a:t>
            </a:r>
          </a:p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</a:rPr>
              <a:t>HMA has provided 15 trainings with 9 open forums for 900+ participants (counsel, courts, BH agencies; advocacy groups, volunteer supporters, and other community members).</a:t>
            </a:r>
          </a:p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</a:rPr>
              <a:t>Key Resources at </a:t>
            </a:r>
            <a:r>
              <a:rPr lang="en-US" sz="4000" dirty="0">
                <a:solidFill>
                  <a:srgbClr val="0070C0"/>
                </a:solidFill>
                <a:latin typeface="+mn-lt"/>
                <a:cs typeface="+mj-cs"/>
                <a:hlinkClick r:id="rId3"/>
              </a:rPr>
              <a:t>CARE-Act.org</a:t>
            </a:r>
            <a:r>
              <a:rPr lang="en-US" sz="4000" dirty="0">
                <a:latin typeface="+mn-lt"/>
              </a:rPr>
              <a:t>: </a:t>
            </a:r>
          </a:p>
          <a:p>
            <a:pPr lvl="1">
              <a:lnSpc>
                <a:spcPct val="120000"/>
              </a:lnSpc>
            </a:pPr>
            <a:r>
              <a:rPr lang="en-US" sz="4000" dirty="0">
                <a:latin typeface="+mn-lt"/>
                <a:hlinkClick r:id="rId4"/>
              </a:rPr>
              <a:t>CARE Agreement and Plan Worksheet</a:t>
            </a:r>
          </a:p>
          <a:p>
            <a:pPr lvl="1">
              <a:lnSpc>
                <a:spcPct val="120000"/>
              </a:lnSpc>
            </a:pPr>
            <a:r>
              <a:rPr lang="en-US" sz="4000" dirty="0">
                <a:latin typeface="+mn-lt"/>
                <a:hlinkClick r:id="rId5"/>
              </a:rPr>
              <a:t>CARE Act at a Glance</a:t>
            </a:r>
            <a:r>
              <a:rPr lang="en-US" sz="4000" dirty="0">
                <a:latin typeface="+mn-lt"/>
              </a:rPr>
              <a:t>, </a:t>
            </a:r>
            <a:r>
              <a:rPr lang="en-US" sz="4000" dirty="0">
                <a:latin typeface="+mn-lt"/>
                <a:hlinkClick r:id="rId6"/>
              </a:rPr>
              <a:t>Legal Roles</a:t>
            </a:r>
            <a:r>
              <a:rPr lang="en-US" sz="4000" dirty="0">
                <a:latin typeface="+mn-lt"/>
              </a:rPr>
              <a:t>, and </a:t>
            </a:r>
            <a:r>
              <a:rPr lang="en-US" sz="4000" dirty="0">
                <a:latin typeface="+mn-lt"/>
                <a:hlinkClick r:id="rId7"/>
              </a:rPr>
              <a:t>Supporter Resource Briefs</a:t>
            </a:r>
            <a:r>
              <a:rPr lang="en-US" sz="4000" dirty="0">
                <a:latin typeface="+mn-lt"/>
              </a:rPr>
              <a:t>,</a:t>
            </a:r>
          </a:p>
          <a:p>
            <a:pPr lvl="1">
              <a:lnSpc>
                <a:spcPct val="120000"/>
              </a:lnSpc>
            </a:pPr>
            <a:r>
              <a:rPr lang="en-US" sz="4000" dirty="0">
                <a:latin typeface="+mn-lt"/>
                <a:hlinkClick r:id="rId8"/>
              </a:rPr>
              <a:t>CARE Process Flow</a:t>
            </a:r>
            <a:r>
              <a:rPr lang="en-US" sz="4000" dirty="0">
                <a:latin typeface="+mn-lt"/>
              </a:rPr>
              <a:t> and </a:t>
            </a:r>
            <a:r>
              <a:rPr lang="en-US" sz="4000" dirty="0">
                <a:latin typeface="+mn-lt"/>
                <a:hlinkClick r:id="rId9"/>
              </a:rPr>
              <a:t>Eligibility Factsheet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4000" b="1" dirty="0">
                <a:latin typeface="+mn-lt"/>
              </a:rPr>
              <a:t>Volunteer Supporter and Peer Resources</a:t>
            </a:r>
          </a:p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  <a:hlinkClick r:id="rId10"/>
              </a:rPr>
              <a:t>Volunteer Supporter Toolkit</a:t>
            </a:r>
            <a:r>
              <a:rPr lang="en-US" sz="4000" dirty="0">
                <a:latin typeface="+mn-lt"/>
              </a:rPr>
              <a:t>: Trainings and resources specific to the volunteer supporter role with worksheets and strategies to assist the supporter and respondent through the CARE process.</a:t>
            </a:r>
          </a:p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</a:rPr>
              <a:t>Upcoming Trainings: Role of Peers in the CARE Process and Role of the Family in the CARE Proces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130FCDA-509F-00F5-094B-9393852B62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246909"/>
            <a:ext cx="5257800" cy="4930054"/>
          </a:xfrm>
        </p:spPr>
        <p:txBody>
          <a:bodyPr>
            <a:normAutofit fontScale="40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4000" b="1" dirty="0">
                <a:latin typeface="+mn-lt"/>
              </a:rPr>
              <a:t>Cohort 1 Learning Community </a:t>
            </a:r>
          </a:p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</a:rPr>
              <a:t>Day long meetings every other month (BH, Courts, County Admin) to support cross-county sharing of CARE implementation barriers, solutions, and questions. </a:t>
            </a:r>
          </a:p>
          <a:p>
            <a:pPr>
              <a:lnSpc>
                <a:spcPct val="120000"/>
              </a:lnSpc>
            </a:pPr>
            <a:endParaRPr lang="en-US" sz="4000" dirty="0">
              <a:latin typeface="+mn-lt"/>
              <a:hlinkClick r:id="rId11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4000" b="1" dirty="0">
                <a:latin typeface="+mn-lt"/>
                <a:hlinkClick r:id="rId11"/>
              </a:rPr>
              <a:t>CalHHS CARE Act website </a:t>
            </a:r>
            <a:r>
              <a:rPr lang="en-US" sz="4000" dirty="0">
                <a:latin typeface="+mn-lt"/>
              </a:rPr>
              <a:t>has updated information and communication tools, including the Quarter 3 Update: </a:t>
            </a:r>
            <a:r>
              <a:rPr lang="en-US" sz="4000" dirty="0">
                <a:latin typeface="+mn-lt"/>
                <a:hlinkClick r:id="rId12"/>
              </a:rPr>
              <a:t>English</a:t>
            </a:r>
            <a:r>
              <a:rPr lang="en-US" sz="4000" dirty="0">
                <a:latin typeface="+mn-lt"/>
              </a:rPr>
              <a:t> / </a:t>
            </a:r>
            <a:r>
              <a:rPr lang="en-US" sz="4000" dirty="0">
                <a:latin typeface="+mn-lt"/>
                <a:hlinkClick r:id="rId13"/>
              </a:rPr>
              <a:t>Spanish</a:t>
            </a:r>
            <a:endParaRPr lang="en-US" sz="4000" dirty="0">
              <a:latin typeface="+mn-lt"/>
            </a:endParaRPr>
          </a:p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</a:rPr>
              <a:t>See also:</a:t>
            </a:r>
          </a:p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  <a:hlinkClick r:id="rId14"/>
              </a:rPr>
              <a:t>CARE Act Resource Center</a:t>
            </a:r>
            <a:endParaRPr lang="en-US" sz="4000" dirty="0">
              <a:latin typeface="+mn-lt"/>
              <a:hlinkClick r:id="rId15"/>
            </a:endParaRPr>
          </a:p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  <a:hlinkClick r:id="rId15"/>
              </a:rPr>
              <a:t>Department of Health Care Services (DHCS) CARE Act Website</a:t>
            </a:r>
            <a:endParaRPr lang="en-US" sz="4000" dirty="0">
              <a:latin typeface="+mn-lt"/>
            </a:endParaRPr>
          </a:p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  <a:hlinkClick r:id="rId16"/>
              </a:rPr>
              <a:t>Judicial Council of California (JC) CARE Act Website</a:t>
            </a:r>
            <a:endParaRPr lang="en-US" sz="4000" dirty="0">
              <a:latin typeface="+mn-lt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911B78-0C9A-05F9-FC6C-3F97BD2D2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lvl="0"/>
            <a:fld id="{ECBDF916-188B-46C8-9EC1-EFEF5A65B688}" type="slidenum">
              <a:rPr lang="en-US" noProof="0" smtClean="0"/>
              <a:pPr lvl="0"/>
              <a:t>4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33898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3C28F-B296-6FA8-9137-E44C9C952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CARE Act reporting and eval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0F4639-B4CF-D92D-642E-DFD88C1838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72540"/>
            <a:ext cx="10687050" cy="470442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dirty="0"/>
              <a:t>In consultation with relevant stakeholders, DHCS to develop </a:t>
            </a:r>
            <a:r>
              <a:rPr lang="en-US" sz="2400" b="1" dirty="0"/>
              <a:t>early implementation report </a:t>
            </a:r>
            <a:r>
              <a:rPr lang="en-US" sz="2400" dirty="0"/>
              <a:t>in December of 2024, with complete </a:t>
            </a:r>
            <a:r>
              <a:rPr lang="en-US" sz="2400" b="1" dirty="0"/>
              <a:t>annual reports </a:t>
            </a:r>
            <a:r>
              <a:rPr lang="en-US" sz="2400" dirty="0"/>
              <a:t>in July of subsequent years. Reports will include:</a:t>
            </a:r>
          </a:p>
          <a:p>
            <a:r>
              <a:rPr lang="en-US" sz="2000" dirty="0"/>
              <a:t>Demographic information</a:t>
            </a:r>
          </a:p>
          <a:p>
            <a:r>
              <a:rPr lang="en-US" sz="2000" dirty="0"/>
              <a:t>Outcome measures to assess housing, SUD rates, hospital utilization, law enforcement contacts, and involuntary treatment/conservatorship</a:t>
            </a:r>
          </a:p>
          <a:p>
            <a:r>
              <a:rPr lang="en-US" sz="2000" dirty="0"/>
              <a:t>Includes equity assessment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400" b="1" dirty="0"/>
              <a:t>Independent evaluation</a:t>
            </a:r>
            <a:r>
              <a:rPr lang="en-US" sz="2400" dirty="0"/>
              <a:t> to be conducted 3 years after implementation </a:t>
            </a:r>
          </a:p>
          <a:p>
            <a:r>
              <a:rPr lang="en-US" sz="2000" dirty="0"/>
              <a:t>Analyze and report on CARE Act impact on racial, ethnic, and other demographic disparities</a:t>
            </a:r>
          </a:p>
          <a:p>
            <a:r>
              <a:rPr lang="en-US" sz="2000" dirty="0"/>
              <a:t>Preliminary Independent Evaluation Report will be delivered in December 2026, with final report in December 2028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06A1C7-89AE-81FF-7EB1-4AB21DFF7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6DAD7-5542-41F0-84C3-9E05F8D8176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1409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Staying conne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r>
              <a:rPr lang="en-US" sz="2800" dirty="0"/>
              <a:t>Email </a:t>
            </a:r>
            <a:r>
              <a:rPr lang="en-US" sz="2800" dirty="0">
                <a:hlinkClick r:id="rId3"/>
              </a:rPr>
              <a:t>CAREAct@chhs.ca.gov</a:t>
            </a:r>
            <a:r>
              <a:rPr lang="en-US" sz="2800" dirty="0"/>
              <a:t> to join the </a:t>
            </a:r>
            <a:r>
              <a:rPr lang="en-US" sz="2800" dirty="0" err="1"/>
              <a:t>CalHHS</a:t>
            </a:r>
            <a:r>
              <a:rPr lang="en-US" sz="2800" dirty="0"/>
              <a:t> CARE listserv to receive updates and information on future stakeholder events. </a:t>
            </a:r>
          </a:p>
          <a:p>
            <a:r>
              <a:rPr lang="en-US" sz="2800" dirty="0"/>
              <a:t>For training and technical assistance needs or questions, please email </a:t>
            </a:r>
            <a:r>
              <a:rPr lang="en-US" sz="2800" dirty="0">
                <a:hlinkClick r:id="rId4"/>
              </a:rPr>
              <a:t>info@CARE-Act.org</a:t>
            </a:r>
            <a:br>
              <a:rPr lang="en-US" dirty="0"/>
            </a:b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582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3340"/>
            <a:ext cx="10866120" cy="2640542"/>
          </a:xfrm>
        </p:spPr>
        <p:txBody>
          <a:bodyPr>
            <a:normAutofit/>
          </a:bodyPr>
          <a:lstStyle/>
          <a:p>
            <a:pPr algn="ctr"/>
            <a:r>
              <a:rPr lang="en-US" sz="5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?</a:t>
            </a:r>
            <a:br>
              <a:rPr lang="en-US" sz="5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3600" b="1" kern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86204"/>
            <a:ext cx="10515600" cy="4517112"/>
          </a:xfrm>
        </p:spPr>
        <p:txBody>
          <a:bodyPr>
            <a:normAutofit fontScale="92500" lnSpcReduction="10000"/>
          </a:bodyPr>
          <a:lstStyle/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r>
              <a:rPr lang="en-US" sz="2000" b="1" kern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r>
              <a:rPr lang="en-US" sz="3500" b="1" kern="0" dirty="0">
                <a:latin typeface="Arial" panose="020B0604020202020204" pitchFamily="34" charset="0"/>
                <a:cs typeface="Arial" panose="020B0604020202020204" pitchFamily="34" charset="0"/>
              </a:rPr>
              <a:t>Additional Resources 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endParaRPr lang="en-US" sz="2000" b="1" kern="0" dirty="0">
              <a:solidFill>
                <a:schemeClr val="tx2">
                  <a:lumMod val="60000"/>
                  <a:lumOff val="40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lifornia Health and Human Services (CalHHS) Home</a:t>
            </a: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endParaRPr lang="en-US" sz="2000" b="1" kern="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RE Act Legislation (SB 1338)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unty-Specific CARE Act Website Directory</a:t>
            </a: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neral CARE Act Information</a:t>
            </a: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 for CARE Act Petitioners</a:t>
            </a: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RE Act Working Group</a:t>
            </a: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2976C0"/>
              </a:buClr>
              <a:buSzPct val="65000"/>
              <a:buNone/>
            </a:pP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RE Act Technical Assistance and Resource Center </a:t>
            </a: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303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6">
      <a:dk1>
        <a:sysClr val="windowText" lastClr="000000"/>
      </a:dk1>
      <a:lt1>
        <a:sysClr val="window" lastClr="FFFFFF"/>
      </a:lt1>
      <a:dk2>
        <a:srgbClr val="021E77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2FA7"/>
      </a:accent1>
      <a:accent2>
        <a:srgbClr val="2976C0"/>
      </a:accent2>
      <a:accent3>
        <a:srgbClr val="F8A01C"/>
      </a:accent3>
      <a:accent4>
        <a:srgbClr val="FFE700"/>
      </a:accent4>
      <a:accent5>
        <a:srgbClr val="960200"/>
      </a:accent5>
      <a:accent6>
        <a:srgbClr val="A4D54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2FA7"/>
        </a:accent1>
        <a:accent2>
          <a:srgbClr val="2976C0"/>
        </a:accent2>
        <a:accent3>
          <a:srgbClr val="F8A01C"/>
        </a:accent3>
        <a:accent4>
          <a:srgbClr val="FFE700"/>
        </a:accent4>
        <a:accent5>
          <a:srgbClr val="960200"/>
        </a:accent5>
        <a:accent6>
          <a:srgbClr val="A4D54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547319"/>
    </a:custClr>
    <a:custClr name="Custom Color7">
      <a:srgbClr val="FDECD1"/>
    </a:custClr>
  </a:custClrLst>
  <a:extLst>
    <a:ext uri="{05A4C25C-085E-4340-85A3-A5531E510DB2}">
      <thm15:themeFamily xmlns:thm15="http://schemas.microsoft.com/office/thememl/2012/main" name="US1342_OFF_V2.potx" id="{05788E31-05AB-466C-94C8-EEA879FCB626}" vid="{A3FE1B77-8ECC-4269-8DEA-A6EAA372F2C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f48a2f7-7d9e-4806-af7c-e311d332462d" xsi:nil="true"/>
    <lcf76f155ced4ddcb4097134ff3c332f xmlns="7ca19052-c95a-4fb4-8bb7-1874a43dc17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CA63A311FEB642A18148F0DB2F9610" ma:contentTypeVersion="14" ma:contentTypeDescription="Create a new document." ma:contentTypeScope="" ma:versionID="f233db0fae468ad28c004d6a60ab1858">
  <xsd:schema xmlns:xsd="http://www.w3.org/2001/XMLSchema" xmlns:xs="http://www.w3.org/2001/XMLSchema" xmlns:p="http://schemas.microsoft.com/office/2006/metadata/properties" xmlns:ns2="7ca19052-c95a-4fb4-8bb7-1874a43dc171" xmlns:ns3="4f48a2f7-7d9e-4806-af7c-e311d332462d" targetNamespace="http://schemas.microsoft.com/office/2006/metadata/properties" ma:root="true" ma:fieldsID="c8a9d4422e6fb166ee85b3284c0658c5" ns2:_="" ns3:_="">
    <xsd:import namespace="7ca19052-c95a-4fb4-8bb7-1874a43dc171"/>
    <xsd:import namespace="4f48a2f7-7d9e-4806-af7c-e311d33246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a19052-c95a-4fb4-8bb7-1874a43dc1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3b3969b-0c7e-4dc1-adb6-e6bd511b0a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48a2f7-7d9e-4806-af7c-e311d332462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56fe6a99-16d4-4d83-9c30-9fe3997aabb1}" ma:internalName="TaxCatchAll" ma:showField="CatchAllData" ma:web="4f48a2f7-7d9e-4806-af7c-e311d33246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E4CC9FF-0B51-4D1D-9742-37A8A8192C69}">
  <ds:schemaRefs>
    <ds:schemaRef ds:uri="4f48a2f7-7d9e-4806-af7c-e311d332462d"/>
    <ds:schemaRef ds:uri="http://purl.org/dc/terms/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7ca19052-c95a-4fb4-8bb7-1874a43dc171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5EA7040-9AB5-4D56-802F-FD3A9F24945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DEEA2F-CCE6-4EF7-8516-C7316AAB98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a19052-c95a-4fb4-8bb7-1874a43dc171"/>
    <ds:schemaRef ds:uri="4f48a2f7-7d9e-4806-af7c-e311d33246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19</Words>
  <Application>Microsoft Office PowerPoint</Application>
  <PresentationFormat>Widescreen</PresentationFormat>
  <Paragraphs>88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Century Gothic</vt:lpstr>
      <vt:lpstr>Segoe UI</vt:lpstr>
      <vt:lpstr>Wingdings</vt:lpstr>
      <vt:lpstr>Office Theme</vt:lpstr>
      <vt:lpstr>9_White</vt:lpstr>
      <vt:lpstr>1_Office Theme</vt:lpstr>
      <vt:lpstr>think-cell Slide</vt:lpstr>
      <vt:lpstr>CARE (Community Assistance, Recovery and Empowerment) Act</vt:lpstr>
      <vt:lpstr>Efforts to date by Key State Agencies involved in CARE</vt:lpstr>
      <vt:lpstr>CARE Act Working group (established by SB 1338)</vt:lpstr>
      <vt:lpstr>Technical Assistance and Cohort 1 Learning Community</vt:lpstr>
      <vt:lpstr>CARE Act reporting and evaluation</vt:lpstr>
      <vt:lpstr>Staying connected</vt:lpstr>
      <vt:lpstr>Questions?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E (Community Assistance, Recovery and Empowerment) Act</dc:title>
  <dc:creator/>
  <cp:lastModifiedBy/>
  <cp:revision>32</cp:revision>
  <dcterms:created xsi:type="dcterms:W3CDTF">2023-03-17T19:07:35Z</dcterms:created>
  <dcterms:modified xsi:type="dcterms:W3CDTF">2023-11-28T22:2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CA63A311FEB642A18148F0DB2F9610</vt:lpwstr>
  </property>
  <property fmtid="{D5CDD505-2E9C-101B-9397-08002B2CF9AE}" pid="3" name="MediaServiceImageTags">
    <vt:lpwstr/>
  </property>
</Properties>
</file>